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95" d="100"/>
          <a:sy n="95" d="100"/>
        </p:scale>
        <p:origin x="2704" y="144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8/2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8.emf"/><Relationship Id="rId5" Type="http://schemas.openxmlformats.org/officeDocument/2006/relationships/image" Target="../media/image2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981808" y="316456"/>
            <a:ext cx="1660781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800" b="1" dirty="0">
                <a:solidFill>
                  <a:schemeClr val="bg1"/>
                </a:solidFill>
                <a:latin typeface="Gotham HTF Black" pitchFamily="2" charset="77"/>
              </a:rPr>
              <a:t>CUT-THROUGH</a:t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en-US" sz="3600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EXPLAINED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SPEND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in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dirty="0">
                <a:solidFill>
                  <a:schemeClr val="bg2"/>
                </a:solidFill>
                <a:latin typeface="Gotham HTF" pitchFamily="2" charset="77"/>
              </a:rPr>
              <a:t>RECEIVE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outputs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CTION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610989" y="4174279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CTION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TRANSACTION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Steve sends Annie some EPIC, Annie sends Ralph some EPIC, and Ralph sends Anuj some EPIC. Rather than keeping all the details of all the transactions on the blockchain, CUT-THROUGH removes SPENDS and matching spent RECEIVES.</a:t>
            </a:r>
          </a:p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A trace record that the transaction took place is kept, along with the remaining unmatched SPEND and RECEIVE records. It’s a genius idea, the more SPENDS and RECEIVES that are matched result in the EPIC blockchain getting smaller.</a:t>
            </a:r>
          </a:p>
          <a:p>
            <a:pPr algn="just">
              <a:spcAft>
                <a:spcPts val="400"/>
              </a:spcAft>
            </a:pP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An added benefit is that it future-proofs the blockchain from advances in forensic analysis. If the transaction data isn’t there, it can’t be recovered!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2584" y="8926610"/>
            <a:ext cx="1244251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3 – 20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th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Aug 2020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46</TotalTime>
  <Words>144</Words>
  <Application>Microsoft Macintosh PowerPoint</Application>
  <PresentationFormat>Letter Paper (8.5x11 in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otham HTF</vt:lpstr>
      <vt:lpstr>Gotham HTF Black</vt:lpstr>
      <vt:lpstr>Gotham HTF Book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Spencer Lambert</cp:lastModifiedBy>
  <cp:revision>47</cp:revision>
  <cp:lastPrinted>2020-07-19T12:20:33Z</cp:lastPrinted>
  <dcterms:created xsi:type="dcterms:W3CDTF">2020-07-14T13:42:50Z</dcterms:created>
  <dcterms:modified xsi:type="dcterms:W3CDTF">2020-08-20T15:53:57Z</dcterms:modified>
</cp:coreProperties>
</file>